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</p:sldIdLst>
  <p:sldSz cx="12192000" cy="6858000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F625A6E-3795-42C2-A80C-F52447B344C2}" v="179" dt="2025-02-19T01:19:28.5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7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e, Hyo-Sang" userId="63733686-7eee-43c2-ae7a-bb84710167fa" providerId="ADAL" clId="{6F625A6E-3795-42C2-A80C-F52447B344C2}"/>
    <pc:docChg chg="undo custSel addSld modSld modMainMaster">
      <pc:chgData name="Lee, Hyo-Sang" userId="63733686-7eee-43c2-ae7a-bb84710167fa" providerId="ADAL" clId="{6F625A6E-3795-42C2-A80C-F52447B344C2}" dt="2025-02-19T01:19:28.920" v="1978" actId="20577"/>
      <pc:docMkLst>
        <pc:docMk/>
      </pc:docMkLst>
      <pc:sldChg chg="addSp delSp modSp new mod">
        <pc:chgData name="Lee, Hyo-Sang" userId="63733686-7eee-43c2-ae7a-bb84710167fa" providerId="ADAL" clId="{6F625A6E-3795-42C2-A80C-F52447B344C2}" dt="2025-02-19T01:19:28.920" v="1978" actId="20577"/>
        <pc:sldMkLst>
          <pc:docMk/>
          <pc:sldMk cId="2777526386" sldId="256"/>
        </pc:sldMkLst>
        <pc:spChg chg="del">
          <ac:chgData name="Lee, Hyo-Sang" userId="63733686-7eee-43c2-ae7a-bb84710167fa" providerId="ADAL" clId="{6F625A6E-3795-42C2-A80C-F52447B344C2}" dt="2025-02-19T00:25:05.520" v="1" actId="478"/>
          <ac:spMkLst>
            <pc:docMk/>
            <pc:sldMk cId="2777526386" sldId="256"/>
            <ac:spMk id="2" creationId="{56DEC306-1DC9-41C4-2251-8080CBEA694B}"/>
          </ac:spMkLst>
        </pc:spChg>
        <pc:spChg chg="mod">
          <ac:chgData name="Lee, Hyo-Sang" userId="63733686-7eee-43c2-ae7a-bb84710167fa" providerId="ADAL" clId="{6F625A6E-3795-42C2-A80C-F52447B344C2}" dt="2025-02-19T00:55:59.337" v="1768" actId="113"/>
          <ac:spMkLst>
            <pc:docMk/>
            <pc:sldMk cId="2777526386" sldId="256"/>
            <ac:spMk id="3" creationId="{2C263D68-CB2B-072F-7687-16E2F6DEC3CB}"/>
          </ac:spMkLst>
        </pc:spChg>
        <pc:spChg chg="add mod">
          <ac:chgData name="Lee, Hyo-Sang" userId="63733686-7eee-43c2-ae7a-bb84710167fa" providerId="ADAL" clId="{6F625A6E-3795-42C2-A80C-F52447B344C2}" dt="2025-02-19T01:19:28.920" v="1978" actId="20577"/>
          <ac:spMkLst>
            <pc:docMk/>
            <pc:sldMk cId="2777526386" sldId="256"/>
            <ac:spMk id="7" creationId="{4576B3FA-6E7F-D27D-6FEA-B4C17B8F6314}"/>
          </ac:spMkLst>
        </pc:spChg>
        <pc:spChg chg="add mod">
          <ac:chgData name="Lee, Hyo-Sang" userId="63733686-7eee-43c2-ae7a-bb84710167fa" providerId="ADAL" clId="{6F625A6E-3795-42C2-A80C-F52447B344C2}" dt="2025-02-19T00:41:54.970" v="1025" actId="1076"/>
          <ac:spMkLst>
            <pc:docMk/>
            <pc:sldMk cId="2777526386" sldId="256"/>
            <ac:spMk id="9" creationId="{9C1FF4CF-C964-9C63-4403-E01DC149338F}"/>
          </ac:spMkLst>
        </pc:spChg>
        <pc:spChg chg="add mod">
          <ac:chgData name="Lee, Hyo-Sang" userId="63733686-7eee-43c2-ae7a-bb84710167fa" providerId="ADAL" clId="{6F625A6E-3795-42C2-A80C-F52447B344C2}" dt="2025-02-19T00:42:03.906" v="1036" actId="20577"/>
          <ac:spMkLst>
            <pc:docMk/>
            <pc:sldMk cId="2777526386" sldId="256"/>
            <ac:spMk id="10" creationId="{2BC55E3E-E7C5-E643-1536-800F80FC6096}"/>
          </ac:spMkLst>
        </pc:spChg>
        <pc:spChg chg="add mod">
          <ac:chgData name="Lee, Hyo-Sang" userId="63733686-7eee-43c2-ae7a-bb84710167fa" providerId="ADAL" clId="{6F625A6E-3795-42C2-A80C-F52447B344C2}" dt="2025-02-19T00:44:47.787" v="1122" actId="207"/>
          <ac:spMkLst>
            <pc:docMk/>
            <pc:sldMk cId="2777526386" sldId="256"/>
            <ac:spMk id="15" creationId="{74B4EA9A-1ADD-644A-EAE9-AB4265DBC318}"/>
          </ac:spMkLst>
        </pc:spChg>
        <pc:spChg chg="add mod">
          <ac:chgData name="Lee, Hyo-Sang" userId="63733686-7eee-43c2-ae7a-bb84710167fa" providerId="ADAL" clId="{6F625A6E-3795-42C2-A80C-F52447B344C2}" dt="2025-02-19T00:44:20.379" v="1116" actId="1035"/>
          <ac:spMkLst>
            <pc:docMk/>
            <pc:sldMk cId="2777526386" sldId="256"/>
            <ac:spMk id="16" creationId="{16A51974-227B-8D4C-0EE0-4C37166214E3}"/>
          </ac:spMkLst>
        </pc:spChg>
        <pc:spChg chg="add mod">
          <ac:chgData name="Lee, Hyo-Sang" userId="63733686-7eee-43c2-ae7a-bb84710167fa" providerId="ADAL" clId="{6F625A6E-3795-42C2-A80C-F52447B344C2}" dt="2025-02-19T00:44:20.379" v="1116" actId="1035"/>
          <ac:spMkLst>
            <pc:docMk/>
            <pc:sldMk cId="2777526386" sldId="256"/>
            <ac:spMk id="17" creationId="{1AC015C6-95DC-D525-1298-6EB2CBAEE48A}"/>
          </ac:spMkLst>
        </pc:spChg>
        <pc:spChg chg="add mod">
          <ac:chgData name="Lee, Hyo-Sang" userId="63733686-7eee-43c2-ae7a-bb84710167fa" providerId="ADAL" clId="{6F625A6E-3795-42C2-A80C-F52447B344C2}" dt="2025-02-19T00:44:20.379" v="1116" actId="1035"/>
          <ac:spMkLst>
            <pc:docMk/>
            <pc:sldMk cId="2777526386" sldId="256"/>
            <ac:spMk id="18" creationId="{EF0C6A0A-9478-3DCC-9C1D-4153675E7B3D}"/>
          </ac:spMkLst>
        </pc:spChg>
        <pc:spChg chg="add mod">
          <ac:chgData name="Lee, Hyo-Sang" userId="63733686-7eee-43c2-ae7a-bb84710167fa" providerId="ADAL" clId="{6F625A6E-3795-42C2-A80C-F52447B344C2}" dt="2025-02-19T00:44:20.379" v="1116" actId="1035"/>
          <ac:spMkLst>
            <pc:docMk/>
            <pc:sldMk cId="2777526386" sldId="256"/>
            <ac:spMk id="19" creationId="{8B1D2DFD-E6EF-C3FF-982B-C90E777D1B69}"/>
          </ac:spMkLst>
        </pc:spChg>
        <pc:graphicFrameChg chg="add mod ord modVis">
          <ac:chgData name="Lee, Hyo-Sang" userId="63733686-7eee-43c2-ae7a-bb84710167fa" providerId="ADAL" clId="{6F625A6E-3795-42C2-A80C-F52447B344C2}" dt="2025-02-19T00:25:06.103" v="35"/>
          <ac:graphicFrameMkLst>
            <pc:docMk/>
            <pc:sldMk cId="2777526386" sldId="256"/>
            <ac:graphicFrameMk id="4" creationId="{D866507B-2631-2A0A-3179-5A4414EA2E41}"/>
          </ac:graphicFrameMkLst>
        </pc:graphicFrameChg>
        <pc:picChg chg="add mod">
          <ac:chgData name="Lee, Hyo-Sang" userId="63733686-7eee-43c2-ae7a-bb84710167fa" providerId="ADAL" clId="{6F625A6E-3795-42C2-A80C-F52447B344C2}" dt="2025-02-19T00:42:16.720" v="1037" actId="14100"/>
          <ac:picMkLst>
            <pc:docMk/>
            <pc:sldMk cId="2777526386" sldId="256"/>
            <ac:picMk id="6" creationId="{4CAAE69F-8D11-97C5-4535-963276EA2E90}"/>
          </ac:picMkLst>
        </pc:picChg>
        <pc:picChg chg="add mod">
          <ac:chgData name="Lee, Hyo-Sang" userId="63733686-7eee-43c2-ae7a-bb84710167fa" providerId="ADAL" clId="{6F625A6E-3795-42C2-A80C-F52447B344C2}" dt="2025-02-19T00:42:16.720" v="1037" actId="14100"/>
          <ac:picMkLst>
            <pc:docMk/>
            <pc:sldMk cId="2777526386" sldId="256"/>
            <ac:picMk id="8" creationId="{AA6851B7-43D1-A13A-A4B1-167A6CEA5B10}"/>
          </ac:picMkLst>
        </pc:picChg>
        <pc:picChg chg="add del mod">
          <ac:chgData name="Lee, Hyo-Sang" userId="63733686-7eee-43c2-ae7a-bb84710167fa" providerId="ADAL" clId="{6F625A6E-3795-42C2-A80C-F52447B344C2}" dt="2025-02-19T00:42:44.904" v="1040" actId="478"/>
          <ac:picMkLst>
            <pc:docMk/>
            <pc:sldMk cId="2777526386" sldId="256"/>
            <ac:picMk id="12" creationId="{625BC10D-588D-BF47-3C55-F558977BDA9D}"/>
          </ac:picMkLst>
        </pc:picChg>
        <pc:picChg chg="add mod">
          <ac:chgData name="Lee, Hyo-Sang" userId="63733686-7eee-43c2-ae7a-bb84710167fa" providerId="ADAL" clId="{6F625A6E-3795-42C2-A80C-F52447B344C2}" dt="2025-02-19T00:44:20.379" v="1116" actId="1035"/>
          <ac:picMkLst>
            <pc:docMk/>
            <pc:sldMk cId="2777526386" sldId="256"/>
            <ac:picMk id="14" creationId="{1A1FA4FB-0B94-DE29-7F07-A27151B72155}"/>
          </ac:picMkLst>
        </pc:picChg>
        <pc:picChg chg="add mod">
          <ac:chgData name="Lee, Hyo-Sang" userId="63733686-7eee-43c2-ae7a-bb84710167fa" providerId="ADAL" clId="{6F625A6E-3795-42C2-A80C-F52447B344C2}" dt="2025-02-19T00:44:35.753" v="1120" actId="1035"/>
          <ac:picMkLst>
            <pc:docMk/>
            <pc:sldMk cId="2777526386" sldId="256"/>
            <ac:picMk id="21" creationId="{FD37D6E0-8A7F-95B6-B7BB-AC1E6388C46C}"/>
          </ac:picMkLst>
        </pc:picChg>
      </pc:sldChg>
      <pc:sldChg chg="addSp delSp modSp new mod">
        <pc:chgData name="Lee, Hyo-Sang" userId="63733686-7eee-43c2-ae7a-bb84710167fa" providerId="ADAL" clId="{6F625A6E-3795-42C2-A80C-F52447B344C2}" dt="2025-02-19T00:51:39.886" v="1547" actId="1076"/>
        <pc:sldMkLst>
          <pc:docMk/>
          <pc:sldMk cId="4209437229" sldId="257"/>
        </pc:sldMkLst>
        <pc:spChg chg="del">
          <ac:chgData name="Lee, Hyo-Sang" userId="63733686-7eee-43c2-ae7a-bb84710167fa" providerId="ADAL" clId="{6F625A6E-3795-42C2-A80C-F52447B344C2}" dt="2025-02-19T00:45:49.487" v="1125" actId="478"/>
          <ac:spMkLst>
            <pc:docMk/>
            <pc:sldMk cId="4209437229" sldId="257"/>
            <ac:spMk id="2" creationId="{5C1CA6B4-ACC4-9F53-9B68-7F18D3CDC725}"/>
          </ac:spMkLst>
        </pc:spChg>
        <pc:spChg chg="del">
          <ac:chgData name="Lee, Hyo-Sang" userId="63733686-7eee-43c2-ae7a-bb84710167fa" providerId="ADAL" clId="{6F625A6E-3795-42C2-A80C-F52447B344C2}" dt="2025-02-19T00:45:49.487" v="1125" actId="478"/>
          <ac:spMkLst>
            <pc:docMk/>
            <pc:sldMk cId="4209437229" sldId="257"/>
            <ac:spMk id="3" creationId="{24FF7711-BEFA-33DA-10F9-5D95DC4BB6F6}"/>
          </ac:spMkLst>
        </pc:spChg>
        <pc:spChg chg="add mod">
          <ac:chgData name="Lee, Hyo-Sang" userId="63733686-7eee-43c2-ae7a-bb84710167fa" providerId="ADAL" clId="{6F625A6E-3795-42C2-A80C-F52447B344C2}" dt="2025-02-19T00:51:32.670" v="1544" actId="1076"/>
          <ac:spMkLst>
            <pc:docMk/>
            <pc:sldMk cId="4209437229" sldId="257"/>
            <ac:spMk id="9" creationId="{DB5125AA-5580-8D5D-B159-B5044EA12A09}"/>
          </ac:spMkLst>
        </pc:spChg>
        <pc:spChg chg="add mod">
          <ac:chgData name="Lee, Hyo-Sang" userId="63733686-7eee-43c2-ae7a-bb84710167fa" providerId="ADAL" clId="{6F625A6E-3795-42C2-A80C-F52447B344C2}" dt="2025-02-19T00:51:39.886" v="1547" actId="1076"/>
          <ac:spMkLst>
            <pc:docMk/>
            <pc:sldMk cId="4209437229" sldId="257"/>
            <ac:spMk id="10" creationId="{5BF5A910-A50B-9890-B6DC-D5718BA1B513}"/>
          </ac:spMkLst>
        </pc:spChg>
        <pc:graphicFrameChg chg="add mod modVis">
          <ac:chgData name="Lee, Hyo-Sang" userId="63733686-7eee-43c2-ae7a-bb84710167fa" providerId="ADAL" clId="{6F625A6E-3795-42C2-A80C-F52447B344C2}" dt="2025-02-19T00:45:50.033" v="1137"/>
          <ac:graphicFrameMkLst>
            <pc:docMk/>
            <pc:sldMk cId="4209437229" sldId="257"/>
            <ac:graphicFrameMk id="4" creationId="{94DA5C85-2552-20B1-3551-29D7E1BA9480}"/>
          </ac:graphicFrameMkLst>
        </pc:graphicFrameChg>
        <pc:picChg chg="add del mod">
          <ac:chgData name="Lee, Hyo-Sang" userId="63733686-7eee-43c2-ae7a-bb84710167fa" providerId="ADAL" clId="{6F625A6E-3795-42C2-A80C-F52447B344C2}" dt="2025-02-19T00:50:24.620" v="1151" actId="478"/>
          <ac:picMkLst>
            <pc:docMk/>
            <pc:sldMk cId="4209437229" sldId="257"/>
            <ac:picMk id="6" creationId="{612E75AD-F471-CE5B-DDCF-E331978B0E68}"/>
          </ac:picMkLst>
        </pc:picChg>
        <pc:picChg chg="add mod">
          <ac:chgData name="Lee, Hyo-Sang" userId="63733686-7eee-43c2-ae7a-bb84710167fa" providerId="ADAL" clId="{6F625A6E-3795-42C2-A80C-F52447B344C2}" dt="2025-02-19T00:51:36.803" v="1545" actId="1076"/>
          <ac:picMkLst>
            <pc:docMk/>
            <pc:sldMk cId="4209437229" sldId="257"/>
            <ac:picMk id="8" creationId="{C275A358-2677-64B7-7811-D9A7D674F067}"/>
          </ac:picMkLst>
        </pc:picChg>
      </pc:sldChg>
      <pc:sldChg chg="addSp delSp modSp add mod">
        <pc:chgData name="Lee, Hyo-Sang" userId="63733686-7eee-43c2-ae7a-bb84710167fa" providerId="ADAL" clId="{6F625A6E-3795-42C2-A80C-F52447B344C2}" dt="2025-02-19T01:11:23.520" v="1894" actId="20577"/>
        <pc:sldMkLst>
          <pc:docMk/>
          <pc:sldMk cId="3270013242" sldId="258"/>
        </pc:sldMkLst>
        <pc:spChg chg="mod">
          <ac:chgData name="Lee, Hyo-Sang" userId="63733686-7eee-43c2-ae7a-bb84710167fa" providerId="ADAL" clId="{6F625A6E-3795-42C2-A80C-F52447B344C2}" dt="2025-02-19T01:11:23.520" v="1894" actId="20577"/>
          <ac:spMkLst>
            <pc:docMk/>
            <pc:sldMk cId="3270013242" sldId="258"/>
            <ac:spMk id="9" creationId="{DB5125AA-5580-8D5D-B159-B5044EA12A09}"/>
          </ac:spMkLst>
        </pc:spChg>
        <pc:spChg chg="mod">
          <ac:chgData name="Lee, Hyo-Sang" userId="63733686-7eee-43c2-ae7a-bb84710167fa" providerId="ADAL" clId="{6F625A6E-3795-42C2-A80C-F52447B344C2}" dt="2025-02-19T00:51:44.954" v="1555" actId="20577"/>
          <ac:spMkLst>
            <pc:docMk/>
            <pc:sldMk cId="3270013242" sldId="258"/>
            <ac:spMk id="10" creationId="{5BF5A910-A50B-9890-B6DC-D5718BA1B513}"/>
          </ac:spMkLst>
        </pc:spChg>
        <pc:spChg chg="add del mod">
          <ac:chgData name="Lee, Hyo-Sang" userId="63733686-7eee-43c2-ae7a-bb84710167fa" providerId="ADAL" clId="{6F625A6E-3795-42C2-A80C-F52447B344C2}" dt="2025-02-19T01:11:02.802" v="1770" actId="478"/>
          <ac:spMkLst>
            <pc:docMk/>
            <pc:sldMk cId="3270013242" sldId="258"/>
            <ac:spMk id="14" creationId="{5B4D1533-695D-2EAC-8AB4-C087BF9AA002}"/>
          </ac:spMkLst>
        </pc:spChg>
        <pc:grpChg chg="add mod">
          <ac:chgData name="Lee, Hyo-Sang" userId="63733686-7eee-43c2-ae7a-bb84710167fa" providerId="ADAL" clId="{6F625A6E-3795-42C2-A80C-F52447B344C2}" dt="2025-02-19T00:55:08.654" v="1665" actId="164"/>
          <ac:grpSpMkLst>
            <pc:docMk/>
            <pc:sldMk cId="3270013242" sldId="258"/>
            <ac:grpSpMk id="21" creationId="{DB92EA46-E919-3988-D3F8-1BC5BEDD464B}"/>
          </ac:grpSpMkLst>
        </pc:grpChg>
        <pc:picChg chg="add mod">
          <ac:chgData name="Lee, Hyo-Sang" userId="63733686-7eee-43c2-ae7a-bb84710167fa" providerId="ADAL" clId="{6F625A6E-3795-42C2-A80C-F52447B344C2}" dt="2025-02-19T00:53:11.954" v="1572" actId="1076"/>
          <ac:picMkLst>
            <pc:docMk/>
            <pc:sldMk cId="3270013242" sldId="258"/>
            <ac:picMk id="3" creationId="{5143C538-008F-EED7-029C-A97E7D029232}"/>
          </ac:picMkLst>
        </pc:picChg>
        <pc:picChg chg="add mod">
          <ac:chgData name="Lee, Hyo-Sang" userId="63733686-7eee-43c2-ae7a-bb84710167fa" providerId="ADAL" clId="{6F625A6E-3795-42C2-A80C-F52447B344C2}" dt="2025-02-19T00:53:11.954" v="1572" actId="1076"/>
          <ac:picMkLst>
            <pc:docMk/>
            <pc:sldMk cId="3270013242" sldId="258"/>
            <ac:picMk id="6" creationId="{DCBD7B0B-2ACB-22BA-F1F0-CDD6B98FAAB4}"/>
          </ac:picMkLst>
        </pc:picChg>
        <pc:picChg chg="del mod">
          <ac:chgData name="Lee, Hyo-Sang" userId="63733686-7eee-43c2-ae7a-bb84710167fa" providerId="ADAL" clId="{6F625A6E-3795-42C2-A80C-F52447B344C2}" dt="2025-02-19T00:53:06.104" v="1571" actId="478"/>
          <ac:picMkLst>
            <pc:docMk/>
            <pc:sldMk cId="3270013242" sldId="258"/>
            <ac:picMk id="8" creationId="{C275A358-2677-64B7-7811-D9A7D674F067}"/>
          </ac:picMkLst>
        </pc:picChg>
        <pc:picChg chg="add mod">
          <ac:chgData name="Lee, Hyo-Sang" userId="63733686-7eee-43c2-ae7a-bb84710167fa" providerId="ADAL" clId="{6F625A6E-3795-42C2-A80C-F52447B344C2}" dt="2025-02-19T00:53:11.954" v="1572" actId="1076"/>
          <ac:picMkLst>
            <pc:docMk/>
            <pc:sldMk cId="3270013242" sldId="258"/>
            <ac:picMk id="11" creationId="{062C2E2C-23C7-CEBD-5769-6607A168C956}"/>
          </ac:picMkLst>
        </pc:picChg>
        <pc:picChg chg="add del mod">
          <ac:chgData name="Lee, Hyo-Sang" userId="63733686-7eee-43c2-ae7a-bb84710167fa" providerId="ADAL" clId="{6F625A6E-3795-42C2-A80C-F52447B344C2}" dt="2025-02-19T01:11:04.454" v="1771" actId="478"/>
          <ac:picMkLst>
            <pc:docMk/>
            <pc:sldMk cId="3270013242" sldId="258"/>
            <ac:picMk id="13" creationId="{D504098F-CFAB-AB08-7FEC-7C132A00E2BB}"/>
          </ac:picMkLst>
        </pc:picChg>
        <pc:picChg chg="add mod">
          <ac:chgData name="Lee, Hyo-Sang" userId="63733686-7eee-43c2-ae7a-bb84710167fa" providerId="ADAL" clId="{6F625A6E-3795-42C2-A80C-F52447B344C2}" dt="2025-02-19T00:55:08.654" v="1665" actId="164"/>
          <ac:picMkLst>
            <pc:docMk/>
            <pc:sldMk cId="3270013242" sldId="258"/>
            <ac:picMk id="16" creationId="{2F9E48CA-46D7-85F8-E131-367CBE76F0C2}"/>
          </ac:picMkLst>
        </pc:picChg>
        <pc:picChg chg="add mod">
          <ac:chgData name="Lee, Hyo-Sang" userId="63733686-7eee-43c2-ae7a-bb84710167fa" providerId="ADAL" clId="{6F625A6E-3795-42C2-A80C-F52447B344C2}" dt="2025-02-19T00:55:08.654" v="1665" actId="164"/>
          <ac:picMkLst>
            <pc:docMk/>
            <pc:sldMk cId="3270013242" sldId="258"/>
            <ac:picMk id="18" creationId="{A4B55AE5-134C-1EB4-4980-38C607A9C6CA}"/>
          </ac:picMkLst>
        </pc:picChg>
        <pc:cxnChg chg="add mod">
          <ac:chgData name="Lee, Hyo-Sang" userId="63733686-7eee-43c2-ae7a-bb84710167fa" providerId="ADAL" clId="{6F625A6E-3795-42C2-A80C-F52447B344C2}" dt="2025-02-19T01:11:07.120" v="1772" actId="14100"/>
          <ac:cxnSpMkLst>
            <pc:docMk/>
            <pc:sldMk cId="3270013242" sldId="258"/>
            <ac:cxnSpMk id="20" creationId="{B256B763-3146-04F8-0C0E-0F2B0C6E0FE5}"/>
          </ac:cxnSpMkLst>
        </pc:cxnChg>
      </pc:sldChg>
      <pc:sldMasterChg chg="addSp delSp modSp mod">
        <pc:chgData name="Lee, Hyo-Sang" userId="63733686-7eee-43c2-ae7a-bb84710167fa" providerId="ADAL" clId="{6F625A6E-3795-42C2-A80C-F52447B344C2}" dt="2025-02-19T00:25:06.120" v="51"/>
        <pc:sldMasterMkLst>
          <pc:docMk/>
          <pc:sldMasterMk cId="953687344" sldId="2147483648"/>
        </pc:sldMasterMkLst>
        <pc:spChg chg="mod">
          <ac:chgData name="Lee, Hyo-Sang" userId="63733686-7eee-43c2-ae7a-bb84710167fa" providerId="ADAL" clId="{6F625A6E-3795-42C2-A80C-F52447B344C2}" dt="2025-02-19T00:25:06.020" v="2" actId="948"/>
          <ac:spMkLst>
            <pc:docMk/>
            <pc:sldMasterMk cId="953687344" sldId="2147483648"/>
            <ac:spMk id="2" creationId="{BB94BE18-E8A6-B0B1-E94C-EC3CF0E378F4}"/>
          </ac:spMkLst>
        </pc:spChg>
        <pc:spChg chg="add del mod modVis">
          <ac:chgData name="Lee, Hyo-Sang" userId="63733686-7eee-43c2-ae7a-bb84710167fa" providerId="ADAL" clId="{6F625A6E-3795-42C2-A80C-F52447B344C2}" dt="2025-02-19T00:25:06.119" v="37"/>
          <ac:spMkLst>
            <pc:docMk/>
            <pc:sldMasterMk cId="953687344" sldId="2147483648"/>
            <ac:spMk id="7" creationId="{1E6C8F95-CB4C-6387-D191-C9FD483F987F}"/>
          </ac:spMkLst>
        </pc:spChg>
        <pc:graphicFrameChg chg="add mod ord modVis">
          <ac:chgData name="Lee, Hyo-Sang" userId="63733686-7eee-43c2-ae7a-bb84710167fa" providerId="ADAL" clId="{6F625A6E-3795-42C2-A80C-F52447B344C2}" dt="2025-02-19T00:25:06.120" v="51"/>
          <ac:graphicFrameMkLst>
            <pc:docMk/>
            <pc:sldMasterMk cId="953687344" sldId="2147483648"/>
            <ac:graphicFrameMk id="8" creationId="{891B9B54-EB88-0262-8A72-6AA42E32DE66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6A5B590-5E33-754C-D86A-E3A1FC6046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3F180992-4571-ABFF-0978-A300833F5F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3C767DD-87CD-D05E-CE3A-C51F474E10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B4A95E3-E2A6-2909-C761-CD16481E1F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711C96B-BD4F-09E3-E67A-3CF64D98D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025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B85026E-3597-A750-0FD9-75934268E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458B844-26F4-0179-3793-A742C0C01D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3D72BA1-A7ED-36A9-24B4-98B2D768C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7311693-639A-343F-DF94-55A3291AD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F0A3F57-7477-0DE2-6937-AF88AD5CE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9495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110523A-4727-3CFC-DFCA-04101F64738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DA1C672A-5E8D-C0F2-DC82-B007D546C6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1B35CBB-277C-AC80-9754-E2F4003B84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9529889-DB16-F95F-4825-FF5AF1EF41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7584132-0E67-D893-C538-A2C69B176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6462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AF5084C-76F4-DF90-3B25-F9025209C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F8B00DFA-F850-7EAC-4EF4-AE846C8125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5B8B724-C708-A9FD-CFC7-47842540C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6577F6A-0D2C-1AF0-4526-2BA15B97F3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F70463D-4C93-C9E0-582F-4D59CD11F0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7095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E80646F-FFA7-9967-AFFB-09336FB5E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A84C2CF-E4A4-DE4A-F232-636F4551BE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900B813-BBFD-D648-1E48-395F350B8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C1D5713-8569-0368-03A5-46B468A56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83B2BFE-C832-26DF-B00E-AABE8520F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4131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4063CB2-D086-6C6E-C442-146E6E5D06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C85DC1-052E-A862-420E-AA2D9FD95A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997ABE2-90AF-C2D5-2853-278EB65E80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98E7563-DF7E-EBE3-DBC5-215B4094F5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D73559D-2768-D8D1-0A45-2156CC883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64C12930-E02F-343F-9615-738C05FC0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715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C01A9C1-B07E-0967-19A6-5341FF286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32E75BB6-0C7C-B28B-4758-2CC42E869E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2E89AEE-D7FC-C675-8576-54934B08E4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75FA5301-2F52-DD69-4C47-C831CCD8E1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EAA5F8A0-2FEA-04E6-DA02-E25908F2B43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FE5B36DE-838F-E4C1-743E-D49BD49E3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B28C5C87-98AA-6A8A-E789-71B500E234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DA9F7195-C759-B1A6-FE36-C6DE2F3045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3781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E0352B0-C9FF-CC95-30E6-3DC85E76F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1FAFCC88-E84B-74B5-0EA8-B1C2ADCA60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311B0DBA-2348-EB8E-0DC5-DD7F6B78E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0601C2D0-2171-D1CE-7B72-609D72BBD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126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EAD90867-A0A8-7780-B965-0EF62A7C4E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A49EB398-DCA0-28D7-8765-6BFB89BF4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546EE66-5DB0-997F-8F92-E44C8CB61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1505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26AFFAB-B27D-F206-A2CD-99E166142C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026C37C-97B5-287D-7D22-F66F6281F8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09FDA109-9531-EF5B-E277-FBA7669778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26BF0D2-C794-A13E-0A97-6FC64848C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CE5C0FE-8089-F56F-A445-AFABCDA0DF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0A3C9B7-1698-9C4C-BE05-2D5CCF191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753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B8FB838-F559-F698-8CA2-D8CB94CA9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B0671B7E-E38B-7627-27CF-19612DFD96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62E0694-E7D9-2267-3305-8FD1ED0F60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4178C5C-0FDD-50CB-4BAF-BC747EFF24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4A9142D-51DD-C019-7D1E-DB934B6F9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EEF8ECD5-9A3A-480B-9370-ABAD49AD8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0786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91B9B54-EB88-0262-8A72-6AA42E32D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67022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14" imgW="306" imgH="306" progId="TCLayout.ActiveDocument.1">
                  <p:embed/>
                </p:oleObj>
              </mc:Choice>
              <mc:Fallback>
                <p:oleObj name="think-cell 슬라이드" r:id="rId14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1B9B54-EB88-0262-8A72-6AA42E32D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BB94BE18-E8A6-B0B1-E94C-EC3CF0E37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A78BA36-4034-ECC4-4FCC-CD78F9CAB5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8074017-A71D-2B90-D087-B84DF387B2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E01E9FF-6623-3305-5A4B-BE7000081C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E07096D-E31F-883B-17BB-99256DD9EB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687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866507B-2631-2A0A-3179-5A4414EA2E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238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3" imgW="306" imgH="306" progId="TCLayout.ActiveDocument.1">
                  <p:embed/>
                </p:oleObj>
              </mc:Choice>
              <mc:Fallback>
                <p:oleObj name="think-cell 슬라이드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66507B-2631-2A0A-3179-5A4414EA2E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부제목 2">
            <a:extLst>
              <a:ext uri="{FF2B5EF4-FFF2-40B4-BE49-F238E27FC236}">
                <a16:creationId xmlns:a16="http://schemas.microsoft.com/office/drawing/2014/main" id="{2C263D68-CB2B-072F-7687-16E2F6DEC3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445" y="48488"/>
            <a:ext cx="9144000" cy="689304"/>
          </a:xfrm>
        </p:spPr>
        <p:txBody>
          <a:bodyPr>
            <a:normAutofit/>
          </a:bodyPr>
          <a:lstStyle/>
          <a:p>
            <a:pPr algn="l"/>
            <a:r>
              <a:rPr lang="ko-KR" altLang="en-US" sz="1000" b="1" dirty="0"/>
              <a:t>추가 사유 </a:t>
            </a:r>
            <a:r>
              <a:rPr lang="en-US" altLang="ko-KR" sz="1000" b="1" dirty="0"/>
              <a:t>: </a:t>
            </a:r>
            <a:br>
              <a:rPr lang="en-US" altLang="ko-KR" sz="1000" b="1" dirty="0"/>
            </a:br>
            <a:r>
              <a:rPr lang="ko-KR" altLang="en-US" sz="1000" b="1" dirty="0"/>
              <a:t>납품처에서 진입 할 수 있는 차량</a:t>
            </a:r>
            <a:r>
              <a:rPr lang="en-US" altLang="ko-KR" sz="1000" b="1" dirty="0"/>
              <a:t>, </a:t>
            </a:r>
            <a:r>
              <a:rPr lang="ko-KR" altLang="en-US" sz="1000" b="1" dirty="0"/>
              <a:t>특이사항 등 참고해야 할 사항이 있음</a:t>
            </a:r>
            <a:br>
              <a:rPr lang="en-US" altLang="ko-KR" sz="1000" b="1" dirty="0"/>
            </a:br>
            <a:r>
              <a:rPr lang="en-US" altLang="ko-KR" sz="1000" b="1" dirty="0"/>
              <a:t>CS</a:t>
            </a:r>
            <a:r>
              <a:rPr lang="ko-KR" altLang="en-US" sz="1000" b="1" dirty="0"/>
              <a:t>팀은 주문확정 과정에서 자신 혹은 다른 팀원이 기입 </a:t>
            </a:r>
            <a:r>
              <a:rPr lang="ko-KR" altLang="en-US" sz="1000" b="1" dirty="0" err="1"/>
              <a:t>해놓은</a:t>
            </a:r>
            <a:r>
              <a:rPr lang="ko-KR" altLang="en-US" sz="1000" b="1" dirty="0"/>
              <a:t> </a:t>
            </a:r>
            <a:r>
              <a:rPr lang="ko-KR" altLang="en-US" sz="1000" b="1" dirty="0" err="1"/>
              <a:t>납품처별</a:t>
            </a:r>
            <a:r>
              <a:rPr lang="ko-KR" altLang="en-US" sz="1000" b="1" dirty="0"/>
              <a:t> 메모를 보고자 함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4CAAE69F-8D11-97C5-4535-963276EA2E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445" y="1035719"/>
            <a:ext cx="10749482" cy="3001736"/>
          </a:xfrm>
          <a:prstGeom prst="rect">
            <a:avLst/>
          </a:prstGeom>
        </p:spPr>
      </p:pic>
      <p:sp>
        <p:nvSpPr>
          <p:cNvPr id="7" name="부제목 2">
            <a:extLst>
              <a:ext uri="{FF2B5EF4-FFF2-40B4-BE49-F238E27FC236}">
                <a16:creationId xmlns:a16="http://schemas.microsoft.com/office/drawing/2014/main" id="{4576B3FA-6E7F-D27D-6FEA-B4C17B8F6314}"/>
              </a:ext>
            </a:extLst>
          </p:cNvPr>
          <p:cNvSpPr txBox="1">
            <a:spLocks/>
          </p:cNvSpPr>
          <p:nvPr/>
        </p:nvSpPr>
        <p:spPr>
          <a:xfrm>
            <a:off x="27160" y="585810"/>
            <a:ext cx="9144000" cy="6893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sz="1200" b="1" dirty="0"/>
              <a:t>1. </a:t>
            </a:r>
            <a:r>
              <a:rPr lang="ko-KR" altLang="en-US" sz="1200" b="1" dirty="0" err="1"/>
              <a:t>납품처</a:t>
            </a:r>
            <a:r>
              <a:rPr lang="ko-KR" altLang="en-US" sz="1200" b="1" dirty="0"/>
              <a:t> 테이블 주의사항 컬럼 추가 </a:t>
            </a:r>
            <a:r>
              <a:rPr lang="en-US" altLang="ko-KR" sz="1200" b="1" dirty="0"/>
              <a:t>( O_SHIPTO Table</a:t>
            </a:r>
            <a:r>
              <a:rPr lang="ko-KR" altLang="en-US" sz="1200" b="1" dirty="0"/>
              <a:t>에 </a:t>
            </a:r>
            <a:r>
              <a:rPr lang="en-US" altLang="ko-KR" sz="1200" b="1" dirty="0"/>
              <a:t>Comment(VARCHAR(80) </a:t>
            </a:r>
            <a:r>
              <a:rPr lang="ko-KR" altLang="en-US" sz="1200" b="1" dirty="0"/>
              <a:t>추가 </a:t>
            </a:r>
            <a:r>
              <a:rPr lang="en-US" altLang="ko-KR" sz="1200" b="1" dirty="0"/>
              <a:t>)</a:t>
            </a:r>
            <a:br>
              <a:rPr lang="en-US" altLang="ko-KR" sz="1200" b="1" dirty="0"/>
            </a:br>
            <a:r>
              <a:rPr lang="en-US" altLang="ko-KR" sz="1200" b="1" dirty="0"/>
              <a:t>-</a:t>
            </a:r>
            <a:r>
              <a:rPr lang="ko-KR" altLang="en-US" sz="1200" b="1" dirty="0"/>
              <a:t> 납품처로 활용하고 있는 데이터 테이블에 사용자가 수정 할 수 있는 형태로 </a:t>
            </a:r>
            <a:r>
              <a:rPr lang="en-US" altLang="ko-KR" sz="1200" b="1" dirty="0"/>
              <a:t>‘</a:t>
            </a:r>
            <a:r>
              <a:rPr lang="ko-KR" altLang="en-US" sz="1200" b="1" dirty="0"/>
              <a:t>주의사항</a:t>
            </a:r>
            <a:r>
              <a:rPr lang="en-US" altLang="ko-KR" sz="1200" b="1" dirty="0"/>
              <a:t>’ </a:t>
            </a:r>
            <a:r>
              <a:rPr lang="ko-KR" altLang="en-US" sz="1200" b="1" dirty="0"/>
              <a:t>컬럼 추가</a:t>
            </a:r>
            <a:br>
              <a:rPr lang="en-US" altLang="ko-KR" sz="1200" b="1" dirty="0"/>
            </a:br>
            <a:r>
              <a:rPr lang="en-US" altLang="ko-KR" sz="1200" b="1" dirty="0"/>
              <a:t> </a:t>
            </a:r>
            <a:r>
              <a:rPr lang="ko-KR" altLang="en-US" sz="1200" b="1" dirty="0"/>
              <a:t> </a:t>
            </a:r>
            <a:r>
              <a:rPr lang="en-US" altLang="ko-KR" sz="1200" b="1" dirty="0"/>
              <a:t>( User</a:t>
            </a:r>
            <a:r>
              <a:rPr lang="ko-KR" altLang="en-US" sz="1200" b="1" dirty="0"/>
              <a:t>가 임의로 저장</a:t>
            </a:r>
            <a:r>
              <a:rPr lang="en-US" altLang="ko-KR" sz="1200" b="1" dirty="0"/>
              <a:t>/</a:t>
            </a:r>
            <a:r>
              <a:rPr lang="ko-KR" altLang="en-US" sz="1200" b="1" dirty="0"/>
              <a:t>삭제 할 수 있어야 함 </a:t>
            </a:r>
            <a:r>
              <a:rPr lang="en-US" altLang="ko-KR" sz="1200" b="1" dirty="0"/>
              <a:t>)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AA6851B7-43D1-A13A-A4B1-167A6CEA5B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730" y="3807776"/>
            <a:ext cx="10749482" cy="300173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C1FF4CF-C964-9C63-4403-E01DC149338F}"/>
              </a:ext>
            </a:extLst>
          </p:cNvPr>
          <p:cNvSpPr txBox="1"/>
          <p:nvPr/>
        </p:nvSpPr>
        <p:spPr>
          <a:xfrm>
            <a:off x="452673" y="1167897"/>
            <a:ext cx="13036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>
                <a:solidFill>
                  <a:srgbClr val="FF0000"/>
                </a:solidFill>
              </a:rPr>
              <a:t>AS-IS</a:t>
            </a:r>
            <a:endParaRPr lang="ko-KR" altLang="en-US" sz="1400" b="1" dirty="0">
              <a:solidFill>
                <a:srgbClr val="FF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BC55E3E-E7C5-E643-1536-800F80FC6096}"/>
              </a:ext>
            </a:extLst>
          </p:cNvPr>
          <p:cNvSpPr txBox="1"/>
          <p:nvPr/>
        </p:nvSpPr>
        <p:spPr>
          <a:xfrm>
            <a:off x="452672" y="3967113"/>
            <a:ext cx="13036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>
                <a:solidFill>
                  <a:srgbClr val="FF0000"/>
                </a:solidFill>
              </a:rPr>
              <a:t>TO-BE</a:t>
            </a:r>
            <a:endParaRPr lang="ko-KR" altLang="en-US" sz="1400" b="1" dirty="0">
              <a:solidFill>
                <a:srgbClr val="FF0000"/>
              </a:solidFill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1A1FA4FB-0B94-DE29-7F07-A27151B721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24927" y="4299170"/>
            <a:ext cx="1933845" cy="207674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4B4EA9A-1ADD-644A-EAE9-AB4265DBC318}"/>
              </a:ext>
            </a:extLst>
          </p:cNvPr>
          <p:cNvSpPr txBox="1"/>
          <p:nvPr/>
        </p:nvSpPr>
        <p:spPr>
          <a:xfrm>
            <a:off x="11525062" y="4335382"/>
            <a:ext cx="823866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900" b="1" dirty="0">
                <a:solidFill>
                  <a:srgbClr val="FF0000"/>
                </a:solidFill>
              </a:rPr>
              <a:t>주의 사항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16A51974-227B-8D4C-0EE0-4C37166214E3}"/>
              </a:ext>
            </a:extLst>
          </p:cNvPr>
          <p:cNvSpPr/>
          <p:nvPr/>
        </p:nvSpPr>
        <p:spPr>
          <a:xfrm>
            <a:off x="11199137" y="4674374"/>
            <a:ext cx="1233710" cy="2534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/>
              <a:t>Input data</a:t>
            </a:r>
            <a:endParaRPr lang="ko-KR" altLang="en-US" sz="900" dirty="0"/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1AC015C6-95DC-D525-1298-6EB2CBAEE48A}"/>
              </a:ext>
            </a:extLst>
          </p:cNvPr>
          <p:cNvSpPr/>
          <p:nvPr/>
        </p:nvSpPr>
        <p:spPr>
          <a:xfrm>
            <a:off x="11199137" y="5068238"/>
            <a:ext cx="1233710" cy="2534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/>
              <a:t>Input data</a:t>
            </a:r>
            <a:endParaRPr lang="ko-KR" altLang="en-US" sz="900" dirty="0"/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EF0C6A0A-9478-3DCC-9C1D-4153675E7B3D}"/>
              </a:ext>
            </a:extLst>
          </p:cNvPr>
          <p:cNvSpPr/>
          <p:nvPr/>
        </p:nvSpPr>
        <p:spPr>
          <a:xfrm>
            <a:off x="11199137" y="5393681"/>
            <a:ext cx="1233710" cy="2534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/>
              <a:t>Input data</a:t>
            </a:r>
            <a:endParaRPr lang="ko-KR" altLang="en-US" sz="900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B1D2DFD-E6EF-C3FF-982B-C90E777D1B69}"/>
              </a:ext>
            </a:extLst>
          </p:cNvPr>
          <p:cNvSpPr/>
          <p:nvPr/>
        </p:nvSpPr>
        <p:spPr>
          <a:xfrm>
            <a:off x="11199137" y="5758046"/>
            <a:ext cx="1233710" cy="25349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/>
              <a:t>Input data</a:t>
            </a:r>
            <a:endParaRPr lang="ko-KR" altLang="en-US" sz="900" dirty="0"/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FD37D6E0-8A7F-95B6-B7BB-AC1E6388C4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30490" y="4223432"/>
            <a:ext cx="1952898" cy="133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5263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DA5C85-2552-20B1-3551-29D7E1BA94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342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3" imgW="306" imgH="306" progId="TCLayout.ActiveDocument.1">
                  <p:embed/>
                </p:oleObj>
              </mc:Choice>
              <mc:Fallback>
                <p:oleObj name="think-cell 슬라이드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DA5C85-2552-20B1-3551-29D7E1BA9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C275A358-2677-64B7-7811-D9A7D674F0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609" y="1089826"/>
            <a:ext cx="9109187" cy="4678347"/>
          </a:xfrm>
          <a:prstGeom prst="rect">
            <a:avLst/>
          </a:prstGeom>
        </p:spPr>
      </p:pic>
      <p:sp>
        <p:nvSpPr>
          <p:cNvPr id="9" name="부제목 2">
            <a:extLst>
              <a:ext uri="{FF2B5EF4-FFF2-40B4-BE49-F238E27FC236}">
                <a16:creationId xmlns:a16="http://schemas.microsoft.com/office/drawing/2014/main" id="{DB5125AA-5580-8D5D-B159-B5044EA12A09}"/>
              </a:ext>
            </a:extLst>
          </p:cNvPr>
          <p:cNvSpPr txBox="1">
            <a:spLocks/>
          </p:cNvSpPr>
          <p:nvPr/>
        </p:nvSpPr>
        <p:spPr>
          <a:xfrm>
            <a:off x="139796" y="212135"/>
            <a:ext cx="9144000" cy="6893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sz="1200" b="1" dirty="0"/>
              <a:t>2. </a:t>
            </a:r>
            <a:r>
              <a:rPr lang="ko-KR" altLang="en-US" sz="1200" b="1" dirty="0"/>
              <a:t>웹주문현황에서 </a:t>
            </a:r>
            <a:r>
              <a:rPr lang="ko-KR" altLang="en-US" sz="1200" b="1" dirty="0" err="1"/>
              <a:t>납품처</a:t>
            </a:r>
            <a:r>
              <a:rPr lang="ko-KR" altLang="en-US" sz="1200" b="1" dirty="0"/>
              <a:t> 테이블에 추가된 </a:t>
            </a:r>
            <a:r>
              <a:rPr lang="en-US" altLang="ko-KR" sz="1200" b="1" dirty="0"/>
              <a:t>‘</a:t>
            </a:r>
            <a:r>
              <a:rPr lang="ko-KR" altLang="en-US" sz="1200" b="1" dirty="0"/>
              <a:t>주의사항</a:t>
            </a:r>
            <a:r>
              <a:rPr lang="en-US" altLang="ko-KR" sz="1200" b="1" dirty="0"/>
              <a:t>’</a:t>
            </a:r>
            <a:r>
              <a:rPr lang="ko-KR" altLang="en-US" sz="1200" b="1" dirty="0"/>
              <a:t>컬럼을 활용</a:t>
            </a:r>
            <a:br>
              <a:rPr lang="en-US" altLang="ko-KR" sz="1200" b="1" dirty="0"/>
            </a:br>
            <a:r>
              <a:rPr lang="en-US" altLang="ko-KR" sz="1200" b="1" dirty="0"/>
              <a:t>- </a:t>
            </a:r>
            <a:r>
              <a:rPr lang="ko-KR" altLang="en-US" sz="1200" b="1" dirty="0"/>
              <a:t>웹주문현황 </a:t>
            </a:r>
            <a:r>
              <a:rPr lang="en-US" altLang="ko-KR" sz="1200" b="1" dirty="0"/>
              <a:t>Page</a:t>
            </a:r>
            <a:r>
              <a:rPr lang="ko-KR" altLang="en-US" sz="1200" b="1" dirty="0"/>
              <a:t>에서 납품처에 사용자가 입력된 </a:t>
            </a:r>
            <a:r>
              <a:rPr lang="en-US" altLang="ko-KR" sz="1200" b="1" dirty="0"/>
              <a:t>‘</a:t>
            </a:r>
            <a:r>
              <a:rPr lang="ko-KR" altLang="en-US" sz="1200" b="1" dirty="0"/>
              <a:t>주의사항</a:t>
            </a:r>
            <a:r>
              <a:rPr lang="en-US" altLang="ko-KR" sz="1200" b="1" dirty="0"/>
              <a:t>’ </a:t>
            </a:r>
            <a:r>
              <a:rPr lang="ko-KR" altLang="en-US" sz="1200" b="1" dirty="0"/>
              <a:t>컬럼을 불러옴</a:t>
            </a:r>
            <a:endParaRPr lang="en-US" altLang="ko-KR" sz="1200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F5A910-A50B-9890-B6DC-D5718BA1B513}"/>
              </a:ext>
            </a:extLst>
          </p:cNvPr>
          <p:cNvSpPr txBox="1"/>
          <p:nvPr/>
        </p:nvSpPr>
        <p:spPr>
          <a:xfrm>
            <a:off x="174609" y="782049"/>
            <a:ext cx="13036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>
                <a:solidFill>
                  <a:srgbClr val="FF0000"/>
                </a:solidFill>
              </a:rPr>
              <a:t>AS-IS</a:t>
            </a:r>
            <a:endParaRPr lang="ko-KR" altLang="en-US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437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DA5C85-2552-20B1-3551-29D7E1BA94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3" imgW="306" imgH="306" progId="TCLayout.ActiveDocument.1">
                  <p:embed/>
                </p:oleObj>
              </mc:Choice>
              <mc:Fallback>
                <p:oleObj name="think-cell 슬라이드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DA5C85-2552-20B1-3551-29D7E1BA9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부제목 2">
            <a:extLst>
              <a:ext uri="{FF2B5EF4-FFF2-40B4-BE49-F238E27FC236}">
                <a16:creationId xmlns:a16="http://schemas.microsoft.com/office/drawing/2014/main" id="{DB5125AA-5580-8D5D-B159-B5044EA12A09}"/>
              </a:ext>
            </a:extLst>
          </p:cNvPr>
          <p:cNvSpPr txBox="1">
            <a:spLocks/>
          </p:cNvSpPr>
          <p:nvPr/>
        </p:nvSpPr>
        <p:spPr>
          <a:xfrm>
            <a:off x="139796" y="212135"/>
            <a:ext cx="9144000" cy="6893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sz="1200" b="1" dirty="0"/>
              <a:t>2. </a:t>
            </a:r>
            <a:r>
              <a:rPr lang="ko-KR" altLang="en-US" sz="1200" b="1" dirty="0"/>
              <a:t>웹주문현황에서 </a:t>
            </a:r>
            <a:r>
              <a:rPr lang="ko-KR" altLang="en-US" sz="1200" b="1" dirty="0" err="1"/>
              <a:t>납품처</a:t>
            </a:r>
            <a:r>
              <a:rPr lang="ko-KR" altLang="en-US" sz="1200" b="1" dirty="0"/>
              <a:t> 테이블에 추가된 </a:t>
            </a:r>
            <a:r>
              <a:rPr lang="en-US" altLang="ko-KR" sz="1200" b="1" dirty="0"/>
              <a:t>‘</a:t>
            </a:r>
            <a:r>
              <a:rPr lang="ko-KR" altLang="en-US" sz="1200" b="1" dirty="0"/>
              <a:t>주의사항</a:t>
            </a:r>
            <a:r>
              <a:rPr lang="en-US" altLang="ko-KR" sz="1200" b="1" dirty="0"/>
              <a:t>’</a:t>
            </a:r>
            <a:r>
              <a:rPr lang="ko-KR" altLang="en-US" sz="1200" b="1" dirty="0"/>
              <a:t>컬럼을 활용</a:t>
            </a:r>
            <a:br>
              <a:rPr lang="en-US" altLang="ko-KR" sz="1200" b="1" dirty="0"/>
            </a:br>
            <a:r>
              <a:rPr lang="en-US" altLang="ko-KR" sz="1200" b="1" dirty="0"/>
              <a:t>- </a:t>
            </a:r>
            <a:r>
              <a:rPr lang="ko-KR" altLang="en-US" sz="1200" b="1" dirty="0"/>
              <a:t>웹주문현황 </a:t>
            </a:r>
            <a:r>
              <a:rPr lang="en-US" altLang="ko-KR" sz="1200" b="1" dirty="0"/>
              <a:t>Page</a:t>
            </a:r>
            <a:r>
              <a:rPr lang="ko-KR" altLang="en-US" sz="1200" b="1" dirty="0"/>
              <a:t>에서 납품처에 사용자가 입력된 </a:t>
            </a:r>
            <a:r>
              <a:rPr lang="en-US" altLang="ko-KR" sz="1200" b="1" dirty="0"/>
              <a:t>‘</a:t>
            </a:r>
            <a:r>
              <a:rPr lang="ko-KR" altLang="en-US" sz="1200" b="1" dirty="0"/>
              <a:t>주의사항</a:t>
            </a:r>
            <a:r>
              <a:rPr lang="en-US" altLang="ko-KR" sz="1200" b="1" dirty="0"/>
              <a:t>’ </a:t>
            </a:r>
            <a:r>
              <a:rPr lang="ko-KR" altLang="en-US" sz="1200" b="1" dirty="0"/>
              <a:t>컬럼을 불러옴</a:t>
            </a:r>
            <a:br>
              <a:rPr lang="en-US" altLang="ko-KR" sz="1200" b="1" dirty="0"/>
            </a:br>
            <a:r>
              <a:rPr lang="en-US" altLang="ko-KR" sz="1200" b="1" dirty="0"/>
              <a:t> ( </a:t>
            </a:r>
            <a:r>
              <a:rPr lang="ko-KR" altLang="en-US" sz="1200" b="1" dirty="0"/>
              <a:t>기존 거래처 주의사항에 출력되는 </a:t>
            </a:r>
            <a:r>
              <a:rPr lang="en-US" altLang="ko-KR" sz="1200" b="1" dirty="0"/>
              <a:t>Data </a:t>
            </a:r>
            <a:r>
              <a:rPr lang="ko-KR" altLang="en-US" sz="1200" b="1" dirty="0"/>
              <a:t>대신 납품처의 </a:t>
            </a:r>
            <a:r>
              <a:rPr lang="en-US" altLang="ko-KR" sz="1200" b="1" dirty="0"/>
              <a:t>Data</a:t>
            </a:r>
            <a:r>
              <a:rPr lang="ko-KR" altLang="en-US" sz="1200" b="1" dirty="0"/>
              <a:t>를 활용 </a:t>
            </a:r>
            <a:r>
              <a:rPr lang="en-US" altLang="ko-KR" sz="1200" b="1" dirty="0"/>
              <a:t>)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F5A910-A50B-9890-B6DC-D5718BA1B513}"/>
              </a:ext>
            </a:extLst>
          </p:cNvPr>
          <p:cNvSpPr txBox="1"/>
          <p:nvPr/>
        </p:nvSpPr>
        <p:spPr>
          <a:xfrm>
            <a:off x="174609" y="782049"/>
            <a:ext cx="13036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>
                <a:solidFill>
                  <a:srgbClr val="FF0000"/>
                </a:solidFill>
              </a:rPr>
              <a:t>TO-BE</a:t>
            </a:r>
            <a:endParaRPr lang="ko-KR" altLang="en-US" sz="1400" b="1" dirty="0">
              <a:solidFill>
                <a:srgbClr val="FF0000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143C538-008F-EED7-029C-A97E7D0292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849" y="1089826"/>
            <a:ext cx="8364117" cy="2505425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DCBD7B0B-2ACB-22BA-F1F0-CDD6B98FAA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9113" y="3787732"/>
            <a:ext cx="7363853" cy="1933845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062C2E2C-23C7-CEBD-5769-6607A168C9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9796" y="3597420"/>
            <a:ext cx="1047896" cy="1790950"/>
          </a:xfrm>
          <a:prstGeom prst="rect">
            <a:avLst/>
          </a:prstGeom>
        </p:spPr>
      </p:pic>
      <p:grpSp>
        <p:nvGrpSpPr>
          <p:cNvPr id="21" name="그룹 20">
            <a:extLst>
              <a:ext uri="{FF2B5EF4-FFF2-40B4-BE49-F238E27FC236}">
                <a16:creationId xmlns:a16="http://schemas.microsoft.com/office/drawing/2014/main" id="{DB92EA46-E919-3988-D3F8-1BC5BEDD464B}"/>
              </a:ext>
            </a:extLst>
          </p:cNvPr>
          <p:cNvGrpSpPr/>
          <p:nvPr/>
        </p:nvGrpSpPr>
        <p:grpSpPr>
          <a:xfrm>
            <a:off x="8510623" y="1951844"/>
            <a:ext cx="3496162" cy="2715004"/>
            <a:chOff x="8510623" y="1951844"/>
            <a:chExt cx="3496162" cy="2715004"/>
          </a:xfrm>
        </p:grpSpPr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2F9E48CA-46D7-85F8-E131-367CBE76F0C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510623" y="1951844"/>
              <a:ext cx="1371791" cy="2715004"/>
            </a:xfrm>
            <a:prstGeom prst="rect">
              <a:avLst/>
            </a:prstGeom>
          </p:spPr>
        </p:pic>
        <p:pic>
          <p:nvPicPr>
            <p:cNvPr id="18" name="그림 17">
              <a:extLst>
                <a:ext uri="{FF2B5EF4-FFF2-40B4-BE49-F238E27FC236}">
                  <a16:creationId xmlns:a16="http://schemas.microsoft.com/office/drawing/2014/main" id="{A4B55AE5-134C-1EB4-4980-38C607A9C6C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882414" y="2247735"/>
              <a:ext cx="2124371" cy="2362530"/>
            </a:xfrm>
            <a:prstGeom prst="rect">
              <a:avLst/>
            </a:prstGeom>
          </p:spPr>
        </p:pic>
      </p:grpSp>
      <p:cxnSp>
        <p:nvCxnSpPr>
          <p:cNvPr id="20" name="직선 화살표 연결선 19">
            <a:extLst>
              <a:ext uri="{FF2B5EF4-FFF2-40B4-BE49-F238E27FC236}">
                <a16:creationId xmlns:a16="http://schemas.microsoft.com/office/drawing/2014/main" id="{B256B763-3146-04F8-0C0E-0F2B0C6E0FE5}"/>
              </a:ext>
            </a:extLst>
          </p:cNvPr>
          <p:cNvCxnSpPr>
            <a:cxnSpLocks/>
          </p:cNvCxnSpPr>
          <p:nvPr/>
        </p:nvCxnSpPr>
        <p:spPr>
          <a:xfrm flipH="1">
            <a:off x="2652665" y="2525917"/>
            <a:ext cx="7957996" cy="90308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00132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ed1093ed-f639-41f3-8ff9-69f9a7d23765}" enabled="1" method="Standard" siteId="{ad200093-0cba-48cb-9853-16fb53354a4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4</TotalTime>
  <Words>161</Words>
  <Application>Microsoft Office PowerPoint</Application>
  <PresentationFormat>와이드스크린</PresentationFormat>
  <Paragraphs>13</Paragraphs>
  <Slides>3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2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</vt:i4>
      </vt:variant>
    </vt:vector>
  </HeadingPairs>
  <TitlesOfParts>
    <vt:vector size="7" baseType="lpstr">
      <vt:lpstr>맑은 고딕</vt:lpstr>
      <vt:lpstr>Arial</vt:lpstr>
      <vt:lpstr>Office 테마</vt:lpstr>
      <vt:lpstr>think-cell 슬라이드</vt:lpstr>
      <vt:lpstr>PowerPoint 프레젠테이션</vt:lpstr>
      <vt:lpstr>PowerPoint 프레젠테이션</vt:lpstr>
      <vt:lpstr>PowerPoint 프레젠테이션</vt:lpstr>
    </vt:vector>
  </TitlesOfParts>
  <Company>Knau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ee, Hyo-Sang</dc:creator>
  <cp:lastModifiedBy>Lee, Hyo-Sang</cp:lastModifiedBy>
  <cp:revision>1</cp:revision>
  <cp:lastPrinted>2025-02-19T01:11:38Z</cp:lastPrinted>
  <dcterms:created xsi:type="dcterms:W3CDTF">2025-02-19T00:24:53Z</dcterms:created>
  <dcterms:modified xsi:type="dcterms:W3CDTF">2025-02-19T01:19:32Z</dcterms:modified>
</cp:coreProperties>
</file>